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2" r:id="rId1"/>
  </p:sldMasterIdLst>
  <p:notesMasterIdLst>
    <p:notesMasterId r:id="rId3"/>
  </p:notesMasterIdLst>
  <p:handoutMasterIdLst>
    <p:handoutMasterId r:id="rId4"/>
  </p:handoutMasterIdLst>
  <p:sldIdLst>
    <p:sldId id="644" r:id="rId2"/>
  </p:sldIdLst>
  <p:sldSz cx="10693400" cy="7561263"/>
  <p:notesSz cx="6805613" cy="9944100"/>
  <p:kinsoku lang="zh-CN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3">
          <p15:clr>
            <a:srgbClr val="A4A3A4"/>
          </p15:clr>
        </p15:guide>
        <p15:guide id="2" orient="horz" pos="1792">
          <p15:clr>
            <a:srgbClr val="A4A3A4"/>
          </p15:clr>
        </p15:guide>
        <p15:guide id="3" pos="3368">
          <p15:clr>
            <a:srgbClr val="A4A3A4"/>
          </p15:clr>
        </p15:guide>
        <p15:guide id="4" orient="horz" pos="1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600"/>
    <a:srgbClr val="BB7759"/>
    <a:srgbClr val="003366"/>
    <a:srgbClr val="A8C745"/>
    <a:srgbClr val="9EBE38"/>
    <a:srgbClr val="990000"/>
    <a:srgbClr val="FF990B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01" autoAdjust="0"/>
    <p:restoredTop sz="94625" autoAdjust="0"/>
  </p:normalViewPr>
  <p:slideViewPr>
    <p:cSldViewPr snapToGrid="0">
      <p:cViewPr varScale="1">
        <p:scale>
          <a:sx n="100" d="100"/>
          <a:sy n="100" d="100"/>
        </p:scale>
        <p:origin x="1548" y="96"/>
      </p:cViewPr>
      <p:guideLst>
        <p:guide orient="horz" pos="2563"/>
        <p:guide orient="horz" pos="1792"/>
        <p:guide pos="3368"/>
        <p:guide orient="horz" pos="1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2688"/>
    </p:cViewPr>
  </p:sorterViewPr>
  <p:notesViewPr>
    <p:cSldViewPr snapToGrid="0">
      <p:cViewPr varScale="1">
        <p:scale>
          <a:sx n="76" d="100"/>
          <a:sy n="76" d="100"/>
        </p:scale>
        <p:origin x="-2160" y="-10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C239B82-A2F5-4DC9-A5AB-91C2A636AD1D}" type="slidenum">
              <a:rPr lang="fr-FR" altLang="zh-CN" sz="1200" b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pt-B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176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2648" y="4726077"/>
            <a:ext cx="4980317" cy="419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1485" tIns="39797" rIns="81485" bIns="397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zh-CN" noProof="0"/>
              <a:t>Cliquez pour modifier le style de texte du masque</a:t>
            </a:r>
          </a:p>
          <a:p>
            <a:pPr lvl="1"/>
            <a:r>
              <a:rPr lang="fr-FR" altLang="zh-CN" noProof="0"/>
              <a:t>Second niveau</a:t>
            </a:r>
          </a:p>
          <a:p>
            <a:pPr lvl="2"/>
            <a:r>
              <a:rPr lang="fr-FR" altLang="zh-CN" noProof="0"/>
              <a:t>Troisième niveau</a:t>
            </a:r>
          </a:p>
          <a:p>
            <a:pPr lvl="3"/>
            <a:r>
              <a:rPr lang="fr-FR" altLang="zh-CN" noProof="0"/>
              <a:t>Quatrième niveau</a:t>
            </a:r>
          </a:p>
          <a:p>
            <a:pPr lvl="4"/>
            <a:r>
              <a:rPr lang="fr-FR" altLang="zh-CN" noProof="0"/>
              <a:t>Cinquième niveau</a:t>
            </a:r>
          </a:p>
        </p:txBody>
      </p:sp>
      <p:sp>
        <p:nvSpPr>
          <p:cNvPr id="307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27050" y="576263"/>
            <a:ext cx="5753100" cy="40687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E6FB88F8-BE06-4309-B3DC-39FA6B457582}" type="slidenum">
              <a:rPr lang="fr-FR" altLang="zh-CN" sz="1200" b="0" smtClean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pt-B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53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1pPr>
    <a:lvl2pPr marL="33813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2pPr>
    <a:lvl3pPr marL="6746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3pPr>
    <a:lvl4pPr marL="1012825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4pPr>
    <a:lvl5pPr marL="13477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7449" y="661139"/>
            <a:ext cx="9423559" cy="678676"/>
          </a:xfrm>
        </p:spPr>
        <p:txBody>
          <a:bodyPr/>
          <a:lstStyle>
            <a:lvl1pPr>
              <a:defRPr sz="4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757450" y="2377204"/>
            <a:ext cx="7494662" cy="9510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20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577347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60198" y="1641776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5560198" y="4239208"/>
            <a:ext cx="454469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107739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2359393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9306" y="4239209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556485" y="1641774"/>
            <a:ext cx="4548408" cy="235939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5556485" y="4239209"/>
            <a:ext cx="4548408" cy="2359393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445219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48806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56485" y="1641776"/>
            <a:ext cx="4548408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5556485" y="3630106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5556485" y="4239208"/>
            <a:ext cx="4548408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5556485" y="6227540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70456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4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5744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958044" y="1641774"/>
            <a:ext cx="2946255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7156781" y="1641775"/>
            <a:ext cx="2948111" cy="1988331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7157400" y="3630105"/>
            <a:ext cx="294749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45474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36145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5556484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36145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5556484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83347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021439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7574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7574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95990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95990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95990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95990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71623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17750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757448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957464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7157479" y="1636524"/>
            <a:ext cx="2947414" cy="236464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958044" y="4239208"/>
            <a:ext cx="294625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7156781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333508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757449" y="2764944"/>
            <a:ext cx="9347443" cy="67864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757449" y="4251715"/>
            <a:ext cx="9347443" cy="33933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20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14154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 txBox="1">
            <a:spLocks/>
          </p:cNvSpPr>
          <p:nvPr/>
        </p:nvSpPr>
        <p:spPr>
          <a:xfrm>
            <a:off x="1611436" y="7135547"/>
            <a:ext cx="111248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06 January 2021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12A34401-8199-4818-BD09-7935527FCC48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6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10" name="Straight Connector 9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3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139516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/>
          <p:cNvSpPr txBox="1">
            <a:spLocks noChangeArrowheads="1"/>
          </p:cNvSpPr>
          <p:nvPr userDrawn="1"/>
        </p:nvSpPr>
        <p:spPr bwMode="auto">
          <a:xfrm>
            <a:off x="4232805" y="2322639"/>
            <a:ext cx="6065163" cy="236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92" b="1">
                <a:solidFill>
                  <a:srgbClr val="FFFFFF"/>
                </a:solidFill>
              </a:rPr>
              <a:t>performance</a:t>
            </a:r>
            <a:r>
              <a:rPr lang="en-GB" altLang="fr-FR" sz="992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92" b="1">
                <a:solidFill>
                  <a:srgbClr val="FFFFFF"/>
                </a:solidFill>
              </a:rPr>
              <a:t>understand</a:t>
            </a:r>
            <a:r>
              <a:rPr lang="en-GB" altLang="fr-FR" sz="992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/>
          <p:cNvSpPr txBox="1">
            <a:spLocks noChangeArrowheads="1"/>
          </p:cNvSpPr>
          <p:nvPr userDrawn="1"/>
        </p:nvSpPr>
        <p:spPr bwMode="auto">
          <a:xfrm>
            <a:off x="4232805" y="5014588"/>
            <a:ext cx="6065163" cy="169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1103" b="1">
                <a:solidFill>
                  <a:srgbClr val="FFFFFF"/>
                </a:solidFill>
              </a:rPr>
              <a:t>                </a:t>
            </a:r>
            <a:r>
              <a:rPr lang="en-GB" altLang="fr-FR" sz="992">
                <a:solidFill>
                  <a:srgbClr val="FFFFFF"/>
                </a:solidFill>
              </a:rPr>
              <a:t>We call it </a:t>
            </a:r>
            <a:r>
              <a:rPr lang="en-GB" altLang="fr-FR" sz="1103" b="1">
                <a:solidFill>
                  <a:srgbClr val="FFFFFF"/>
                </a:solidFill>
              </a:rPr>
              <a:t>Performance through Understanding.</a:t>
            </a:r>
          </a:p>
        </p:txBody>
      </p:sp>
      <p:sp>
        <p:nvSpPr>
          <p:cNvPr id="6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9361600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800" y="369133"/>
            <a:ext cx="9346200" cy="5090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757801" y="1130690"/>
            <a:ext cx="9353012" cy="276999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1039379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939A3A98-B4C5-4934-8253-DD3A26C265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939A3A98-B4C5-4934-8253-DD3A26C2658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9A94E5-5D04-4063-8AD0-471CEDB68370}"/>
              </a:ext>
            </a:extLst>
          </p:cNvPr>
          <p:cNvSpPr txBox="1">
            <a:spLocks/>
          </p:cNvSpPr>
          <p:nvPr/>
        </p:nvSpPr>
        <p:spPr>
          <a:xfrm>
            <a:off x="1611437" y="7135547"/>
            <a:ext cx="2846933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92">
                <a:solidFill>
                  <a:srgbClr val="7F7F7F"/>
                </a:solidFill>
              </a:rPr>
              <a:t>Sidel Services: Line Improvement, </a:t>
            </a:r>
            <a:fld id="{76EDA290-8612-4CFC-99C7-870AF86149FB}" type="datetime4">
              <a:rPr lang="de-CH" altLang="fr-FR" sz="992" smtClean="0">
                <a:solidFill>
                  <a:srgbClr val="7F7F7F"/>
                </a:solidFill>
              </a:rPr>
              <a:pPr>
                <a:buSzPct val="100000"/>
                <a:defRPr/>
              </a:pPr>
              <a:t>6. Januar 2021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5007A8-1A25-4E09-82E8-C3C95333F7E0}"/>
              </a:ext>
            </a:extLst>
          </p:cNvPr>
          <p:cNvSpPr txBox="1">
            <a:spLocks/>
          </p:cNvSpPr>
          <p:nvPr/>
        </p:nvSpPr>
        <p:spPr>
          <a:xfrm>
            <a:off x="757450" y="7135547"/>
            <a:ext cx="67646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Pct val="100000"/>
            </a:pPr>
            <a:r>
              <a:rPr lang="de-CH" altLang="fr-FR" sz="992">
                <a:solidFill>
                  <a:srgbClr val="7F7F7F"/>
                </a:solidFill>
              </a:rPr>
              <a:t>Página </a:t>
            </a:r>
            <a:fld id="{E48885CA-4140-4FDF-98FC-53233E345EAD}" type="slidenum">
              <a:rPr lang="de-CH" altLang="fr-FR" sz="992">
                <a:solidFill>
                  <a:srgbClr val="7F7F7F"/>
                </a:solidFill>
              </a:rPr>
              <a:pPr>
                <a:buSzPct val="100000"/>
              </a:pPr>
              <a:t>‹#›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1F796C63-B41A-40F4-8525-B4BAF3848CA0}"/>
              </a:ext>
            </a:extLst>
          </p:cNvPr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A9C499EF-139A-447B-BBBA-D93905D910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DB7D4AB5-94F2-44A8-93FA-445A865A8A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2002 w 501"/>
                <a:gd name="T1" fmla="*/ 1749 h 429"/>
                <a:gd name="T2" fmla="*/ 1889 w 501"/>
                <a:gd name="T3" fmla="*/ 1603 h 429"/>
                <a:gd name="T4" fmla="*/ 1847 w 501"/>
                <a:gd name="T5" fmla="*/ 1548 h 429"/>
                <a:gd name="T6" fmla="*/ 1606 w 501"/>
                <a:gd name="T7" fmla="*/ 1435 h 429"/>
                <a:gd name="T8" fmla="*/ 1294 w 501"/>
                <a:gd name="T9" fmla="*/ 1749 h 429"/>
                <a:gd name="T10" fmla="*/ 1606 w 501"/>
                <a:gd name="T11" fmla="*/ 2056 h 429"/>
                <a:gd name="T12" fmla="*/ 1847 w 501"/>
                <a:gd name="T13" fmla="*/ 1945 h 429"/>
                <a:gd name="T14" fmla="*/ 1889 w 501"/>
                <a:gd name="T15" fmla="*/ 1889 h 429"/>
                <a:gd name="T16" fmla="*/ 2002 w 501"/>
                <a:gd name="T17" fmla="*/ 1749 h 429"/>
                <a:gd name="T18" fmla="*/ 904 w 501"/>
                <a:gd name="T19" fmla="*/ 1742 h 429"/>
                <a:gd name="T20" fmla="*/ 1606 w 501"/>
                <a:gd name="T21" fmla="*/ 1049 h 429"/>
                <a:gd name="T22" fmla="*/ 2142 w 501"/>
                <a:gd name="T23" fmla="*/ 1295 h 429"/>
                <a:gd name="T24" fmla="*/ 2146 w 501"/>
                <a:gd name="T25" fmla="*/ 1307 h 429"/>
                <a:gd name="T26" fmla="*/ 2158 w 501"/>
                <a:gd name="T27" fmla="*/ 1302 h 429"/>
                <a:gd name="T28" fmla="*/ 1393 w 501"/>
                <a:gd name="T29" fmla="*/ 0 h 429"/>
                <a:gd name="T30" fmla="*/ 0 w 501"/>
                <a:gd name="T31" fmla="*/ 2397 h 429"/>
                <a:gd name="T32" fmla="*/ 1360 w 501"/>
                <a:gd name="T33" fmla="*/ 2397 h 429"/>
                <a:gd name="T34" fmla="*/ 1367 w 501"/>
                <a:gd name="T35" fmla="*/ 2392 h 429"/>
                <a:gd name="T36" fmla="*/ 1226 w 501"/>
                <a:gd name="T37" fmla="*/ 2331 h 429"/>
                <a:gd name="T38" fmla="*/ 904 w 501"/>
                <a:gd name="T39" fmla="*/ 1742 h 429"/>
                <a:gd name="T40" fmla="*/ 2765 w 501"/>
                <a:gd name="T41" fmla="*/ 2385 h 429"/>
                <a:gd name="T42" fmla="*/ 2621 w 501"/>
                <a:gd name="T43" fmla="*/ 2347 h 429"/>
                <a:gd name="T44" fmla="*/ 2257 w 501"/>
                <a:gd name="T45" fmla="*/ 2049 h 429"/>
                <a:gd name="T46" fmla="*/ 2118 w 501"/>
                <a:gd name="T47" fmla="*/ 2224 h 429"/>
                <a:gd name="T48" fmla="*/ 1856 w 501"/>
                <a:gd name="T49" fmla="*/ 2392 h 429"/>
                <a:gd name="T50" fmla="*/ 1856 w 501"/>
                <a:gd name="T51" fmla="*/ 2397 h 429"/>
                <a:gd name="T52" fmla="*/ 2793 w 501"/>
                <a:gd name="T53" fmla="*/ 2397 h 429"/>
                <a:gd name="T54" fmla="*/ 2793 w 501"/>
                <a:gd name="T55" fmla="*/ 2392 h 429"/>
                <a:gd name="T56" fmla="*/ 2765 w 501"/>
                <a:gd name="T57" fmla="*/ 2385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6C238BAB-39A5-4800-8EC2-814E9E7D6B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55 w 937"/>
                <a:gd name="T1" fmla="*/ 758 h 326"/>
                <a:gd name="T2" fmla="*/ 435 w 937"/>
                <a:gd name="T3" fmla="*/ 496 h 326"/>
                <a:gd name="T4" fmla="*/ 697 w 937"/>
                <a:gd name="T5" fmla="*/ 295 h 326"/>
                <a:gd name="T6" fmla="*/ 1037 w 937"/>
                <a:gd name="T7" fmla="*/ 557 h 326"/>
                <a:gd name="T8" fmla="*/ 1413 w 937"/>
                <a:gd name="T9" fmla="*/ 557 h 326"/>
                <a:gd name="T10" fmla="*/ 714 w 937"/>
                <a:gd name="T11" fmla="*/ 0 h 326"/>
                <a:gd name="T12" fmla="*/ 66 w 937"/>
                <a:gd name="T13" fmla="*/ 524 h 326"/>
                <a:gd name="T14" fmla="*/ 581 w 937"/>
                <a:gd name="T15" fmla="*/ 1020 h 326"/>
                <a:gd name="T16" fmla="*/ 1099 w 937"/>
                <a:gd name="T17" fmla="*/ 1306 h 326"/>
                <a:gd name="T18" fmla="*/ 758 w 937"/>
                <a:gd name="T19" fmla="*/ 1523 h 326"/>
                <a:gd name="T20" fmla="*/ 373 w 937"/>
                <a:gd name="T21" fmla="*/ 1200 h 326"/>
                <a:gd name="T22" fmla="*/ 5 w 937"/>
                <a:gd name="T23" fmla="*/ 1200 h 326"/>
                <a:gd name="T24" fmla="*/ 749 w 937"/>
                <a:gd name="T25" fmla="*/ 1819 h 326"/>
                <a:gd name="T26" fmla="*/ 1467 w 937"/>
                <a:gd name="T27" fmla="*/ 1261 h 326"/>
                <a:gd name="T28" fmla="*/ 955 w 937"/>
                <a:gd name="T29" fmla="*/ 758 h 326"/>
                <a:gd name="T30" fmla="*/ 3020 w 937"/>
                <a:gd name="T31" fmla="*/ 676 h 326"/>
                <a:gd name="T32" fmla="*/ 3020 w 937"/>
                <a:gd name="T33" fmla="*/ 676 h 326"/>
                <a:gd name="T34" fmla="*/ 2642 w 937"/>
                <a:gd name="T35" fmla="*/ 484 h 326"/>
                <a:gd name="T36" fmla="*/ 2089 w 937"/>
                <a:gd name="T37" fmla="*/ 1138 h 326"/>
                <a:gd name="T38" fmla="*/ 2651 w 937"/>
                <a:gd name="T39" fmla="*/ 1814 h 326"/>
                <a:gd name="T40" fmla="*/ 3032 w 937"/>
                <a:gd name="T41" fmla="*/ 1618 h 326"/>
                <a:gd name="T42" fmla="*/ 3036 w 937"/>
                <a:gd name="T43" fmla="*/ 1618 h 326"/>
                <a:gd name="T44" fmla="*/ 3036 w 937"/>
                <a:gd name="T45" fmla="*/ 1779 h 326"/>
                <a:gd name="T46" fmla="*/ 3367 w 937"/>
                <a:gd name="T47" fmla="*/ 1779 h 326"/>
                <a:gd name="T48" fmla="*/ 3367 w 937"/>
                <a:gd name="T49" fmla="*/ 45 h 326"/>
                <a:gd name="T50" fmla="*/ 3020 w 937"/>
                <a:gd name="T51" fmla="*/ 45 h 326"/>
                <a:gd name="T52" fmla="*/ 3020 w 937"/>
                <a:gd name="T53" fmla="*/ 676 h 326"/>
                <a:gd name="T54" fmla="*/ 2736 w 937"/>
                <a:gd name="T55" fmla="*/ 1552 h 326"/>
                <a:gd name="T56" fmla="*/ 2434 w 937"/>
                <a:gd name="T57" fmla="*/ 1150 h 326"/>
                <a:gd name="T58" fmla="*/ 2736 w 937"/>
                <a:gd name="T59" fmla="*/ 749 h 326"/>
                <a:gd name="T60" fmla="*/ 3032 w 937"/>
                <a:gd name="T61" fmla="*/ 1143 h 326"/>
                <a:gd name="T62" fmla="*/ 2736 w 937"/>
                <a:gd name="T63" fmla="*/ 1552 h 326"/>
                <a:gd name="T64" fmla="*/ 4137 w 937"/>
                <a:gd name="T65" fmla="*/ 484 h 326"/>
                <a:gd name="T66" fmla="*/ 3495 w 937"/>
                <a:gd name="T67" fmla="*/ 1150 h 326"/>
                <a:gd name="T68" fmla="*/ 4137 w 937"/>
                <a:gd name="T69" fmla="*/ 1814 h 326"/>
                <a:gd name="T70" fmla="*/ 4723 w 937"/>
                <a:gd name="T71" fmla="*/ 1389 h 326"/>
                <a:gd name="T72" fmla="*/ 4421 w 937"/>
                <a:gd name="T73" fmla="*/ 1389 h 326"/>
                <a:gd name="T74" fmla="*/ 4149 w 937"/>
                <a:gd name="T75" fmla="*/ 1552 h 326"/>
                <a:gd name="T76" fmla="*/ 3835 w 937"/>
                <a:gd name="T77" fmla="*/ 1233 h 326"/>
                <a:gd name="T78" fmla="*/ 4745 w 937"/>
                <a:gd name="T79" fmla="*/ 1233 h 326"/>
                <a:gd name="T80" fmla="*/ 4137 w 937"/>
                <a:gd name="T81" fmla="*/ 484 h 326"/>
                <a:gd name="T82" fmla="*/ 3835 w 937"/>
                <a:gd name="T83" fmla="*/ 1016 h 326"/>
                <a:gd name="T84" fmla="*/ 4126 w 937"/>
                <a:gd name="T85" fmla="*/ 749 h 326"/>
                <a:gd name="T86" fmla="*/ 4400 w 937"/>
                <a:gd name="T87" fmla="*/ 1016 h 326"/>
                <a:gd name="T88" fmla="*/ 3835 w 937"/>
                <a:gd name="T89" fmla="*/ 1016 h 326"/>
                <a:gd name="T90" fmla="*/ 4886 w 937"/>
                <a:gd name="T91" fmla="*/ 1779 h 326"/>
                <a:gd name="T92" fmla="*/ 5231 w 937"/>
                <a:gd name="T93" fmla="*/ 1779 h 326"/>
                <a:gd name="T94" fmla="*/ 5231 w 937"/>
                <a:gd name="T95" fmla="*/ 45 h 326"/>
                <a:gd name="T96" fmla="*/ 4886 w 937"/>
                <a:gd name="T97" fmla="*/ 45 h 326"/>
                <a:gd name="T98" fmla="*/ 4886 w 937"/>
                <a:gd name="T99" fmla="*/ 1779 h 326"/>
                <a:gd name="T100" fmla="*/ 1597 w 937"/>
                <a:gd name="T101" fmla="*/ 1779 h 326"/>
                <a:gd name="T102" fmla="*/ 1942 w 937"/>
                <a:gd name="T103" fmla="*/ 1779 h 326"/>
                <a:gd name="T104" fmla="*/ 1942 w 937"/>
                <a:gd name="T105" fmla="*/ 520 h 326"/>
                <a:gd name="T106" fmla="*/ 1597 w 937"/>
                <a:gd name="T107" fmla="*/ 520 h 326"/>
                <a:gd name="T108" fmla="*/ 1597 w 937"/>
                <a:gd name="T109" fmla="*/ 1779 h 326"/>
                <a:gd name="T110" fmla="*/ 1597 w 937"/>
                <a:gd name="T111" fmla="*/ 328 h 326"/>
                <a:gd name="T112" fmla="*/ 1942 w 937"/>
                <a:gd name="T113" fmla="*/ 328 h 326"/>
                <a:gd name="T114" fmla="*/ 1942 w 937"/>
                <a:gd name="T115" fmla="*/ 45 h 326"/>
                <a:gd name="T116" fmla="*/ 1597 w 937"/>
                <a:gd name="T117" fmla="*/ 45 h 326"/>
                <a:gd name="T118" fmla="*/ 1597 w 937"/>
                <a:gd name="T119" fmla="*/ 328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</p:grpSp>
      <p:cxnSp>
        <p:nvCxnSpPr>
          <p:cNvPr id="10" name="Straight Connector 48">
            <a:extLst>
              <a:ext uri="{FF2B5EF4-FFF2-40B4-BE49-F238E27FC236}">
                <a16:creationId xmlns:a16="http://schemas.microsoft.com/office/drawing/2014/main" id="{76FEA042-0995-49D5-A1B1-1D1390AF6BD4}"/>
              </a:ext>
            </a:extLst>
          </p:cNvPr>
          <p:cNvCxnSpPr/>
          <p:nvPr userDrawn="1"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3641B653-220D-4374-B81C-6A90704B45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5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3641B653-220D-4374-B81C-6A90704B45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11499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3" cy="4960327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844388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4" cy="49603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896490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180668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952475" y="1641774"/>
            <a:ext cx="6152418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728185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9347443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197047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369133"/>
            <a:ext cx="9347443" cy="622947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998391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7162350" y="4239208"/>
            <a:ext cx="2942542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548922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757449" y="369312"/>
            <a:ext cx="9349299" cy="509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757450" y="1638274"/>
            <a:ext cx="9347443" cy="496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611436" y="7135547"/>
            <a:ext cx="111248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06 January 2021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F2E4720E-BB03-455A-8ED1-6CF75A62BB47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3079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308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FFDF90BC-B5DF-4798-89A4-9AE421EF4868}"/>
              </a:ext>
            </a:extLst>
          </p:cNvPr>
          <p:cNvSpPr txBox="1"/>
          <p:nvPr userDrawn="1"/>
        </p:nvSpPr>
        <p:spPr>
          <a:xfrm>
            <a:off x="5015379" y="7327840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209166872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  <p:sldLayoutId id="2147483864" r:id="rId22"/>
  </p:sldLayoutIdLst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3308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5pPr>
      <a:lvl6pPr marL="504063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6pPr>
      <a:lvl7pPr marL="1008126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7pPr>
      <a:lvl8pPr marL="1512189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8pPr>
      <a:lvl9pPr marL="2016252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1BF97C85-1960-44E2-B1C9-F2FA8F021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3568" y="361240"/>
            <a:ext cx="8037489" cy="1018014"/>
          </a:xfrm>
        </p:spPr>
        <p:txBody>
          <a:bodyPr/>
          <a:lstStyle/>
          <a:p>
            <a:r>
              <a:rPr lang="en-US" altLang="fr-FR" dirty="0">
                <a:solidFill>
                  <a:srgbClr val="E64B00"/>
                </a:solidFill>
              </a:rPr>
              <a:t>Garanta a higiene da preforma e do produto final</a:t>
            </a:r>
          </a:p>
        </p:txBody>
      </p:sp>
      <p:sp>
        <p:nvSpPr>
          <p:cNvPr id="17411" name="Content Placeholder 3">
            <a:extLst>
              <a:ext uri="{FF2B5EF4-FFF2-40B4-BE49-F238E27FC236}">
                <a16:creationId xmlns:a16="http://schemas.microsoft.com/office/drawing/2014/main" id="{85331306-631E-45CF-BFE5-DCDC8C969B3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323568" y="1653401"/>
            <a:ext cx="7833296" cy="348825"/>
          </a:xfrm>
        </p:spPr>
        <p:txBody>
          <a:bodyPr/>
          <a:lstStyle/>
          <a:p>
            <a:r>
              <a:rPr lang="fr-FR" altLang="fr-FR" dirty="0"/>
              <a:t>Módulo de desempoeiramento de preforma</a:t>
            </a:r>
            <a:endParaRPr lang="pt-BR" altLang="zh-CN" dirty="0">
              <a:solidFill>
                <a:srgbClr val="E64B00"/>
              </a:solidFill>
              <a:ea typeface="宋体" panose="02010600030101010101" pitchFamily="2" charset="-122"/>
            </a:endParaRPr>
          </a:p>
          <a:p>
            <a:endParaRPr lang="pt-BR" altLang="zh-CN" dirty="0"/>
          </a:p>
          <a:p>
            <a:endParaRPr lang="pt-BR" altLang="fr-FR" dirty="0"/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26F0C6D1-6126-40F0-B3F1-44A4828F6EDC}"/>
              </a:ext>
            </a:extLst>
          </p:cNvPr>
          <p:cNvSpPr>
            <a:spLocks/>
          </p:cNvSpPr>
          <p:nvPr/>
        </p:nvSpPr>
        <p:spPr>
          <a:xfrm>
            <a:off x="1324528" y="2471501"/>
            <a:ext cx="4084114" cy="367856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indent="-178888" defTabSz="895996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Remoção de partículas e poeira da </a:t>
            </a:r>
            <a:r>
              <a:rPr lang="en-US" altLang="zh-CN" sz="1323" b="0" kern="0" dirty="0" err="1">
                <a:solidFill>
                  <a:srgbClr val="000000"/>
                </a:solidFill>
                <a:latin typeface="Arial"/>
              </a:rPr>
              <a:t>preforma</a:t>
            </a:r>
            <a:endParaRPr lang="en-US" altLang="zh-CN" sz="1323" b="0" kern="0" dirty="0">
              <a:solidFill>
                <a:srgbClr val="000000"/>
              </a:solidFill>
              <a:latin typeface="Arial"/>
            </a:endParaRPr>
          </a:p>
          <a:p>
            <a:pPr marL="178888" indent="-178888" defTabSz="895996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altLang="zh-CN" sz="1323" b="0" kern="0" dirty="0">
                <a:solidFill>
                  <a:srgbClr val="000000"/>
                </a:solidFill>
              </a:rPr>
              <a:t>Pó de PET removido até 100% (mini 97%)</a:t>
            </a:r>
            <a:endParaRPr lang="pt-BR" altLang="zh-CN" sz="1323" b="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B8466011-C770-47A6-86EE-D880D7A7AF4C}"/>
              </a:ext>
            </a:extLst>
          </p:cNvPr>
          <p:cNvSpPr>
            <a:spLocks/>
          </p:cNvSpPr>
          <p:nvPr/>
        </p:nvSpPr>
        <p:spPr>
          <a:xfrm>
            <a:off x="5505484" y="2471501"/>
            <a:ext cx="4029828" cy="367856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lvl="1" indent="-178888" defTabSz="895996">
              <a:spcBef>
                <a:spcPct val="450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O fluxo de ar filtrado do módulo elimina o acúmulo de partículas sólidas no interior das preformas.</a:t>
            </a:r>
          </a:p>
          <a:p>
            <a:pPr marL="178888" lvl="1" indent="-178888" defTabSz="895996">
              <a:spcBef>
                <a:spcPts val="294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endParaRPr lang="pt-BR" altLang="zh-CN" sz="1247" b="0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</p:txBody>
      </p:sp>
      <p:sp>
        <p:nvSpPr>
          <p:cNvPr id="17416" name="Text Placeholder 2">
            <a:extLst>
              <a:ext uri="{FF2B5EF4-FFF2-40B4-BE49-F238E27FC236}">
                <a16:creationId xmlns:a16="http://schemas.microsoft.com/office/drawing/2014/main" id="{B1AF4CBF-8C17-49EB-BB4A-2810FE698516}"/>
              </a:ext>
            </a:extLst>
          </p:cNvPr>
          <p:cNvSpPr txBox="1">
            <a:spLocks/>
          </p:cNvSpPr>
          <p:nvPr/>
        </p:nvSpPr>
        <p:spPr bwMode="auto">
          <a:xfrm>
            <a:off x="1323567" y="6238028"/>
            <a:ext cx="7813755" cy="464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95996" eaLnBrk="1" hangingPunct="1">
              <a:spcBef>
                <a:spcPct val="20000"/>
              </a:spcBef>
              <a:buClrTx/>
              <a:defRPr/>
            </a:pPr>
            <a:r>
              <a:rPr lang="en-GB" altLang="fr-FR" sz="882" b="0" dirty="0">
                <a:solidFill>
                  <a:srgbClr val="000000"/>
                </a:solidFill>
              </a:rPr>
              <a:t>Valor: Qualidade do produto</a:t>
            </a:r>
          </a:p>
          <a:p>
            <a:pPr defTabSz="895996" eaLnBrk="1" hangingPunct="1">
              <a:spcBef>
                <a:spcPct val="20000"/>
              </a:spcBef>
              <a:buClrTx/>
              <a:defRPr/>
            </a:pPr>
            <a:r>
              <a:rPr lang="en-GB" altLang="fr-FR" sz="882" b="0" dirty="0">
                <a:solidFill>
                  <a:srgbClr val="000000"/>
                </a:solidFill>
              </a:rPr>
              <a:t>Equipamento: </a:t>
            </a:r>
            <a:r>
              <a:rPr lang="en-GB" altLang="fr-FR" sz="882" b="0" dirty="0" err="1">
                <a:solidFill>
                  <a:srgbClr val="000000"/>
                </a:solidFill>
              </a:rPr>
              <a:t>sopradoras</a:t>
            </a:r>
            <a:r>
              <a:rPr lang="en-GB" altLang="fr-FR" sz="882" b="0" dirty="0">
                <a:solidFill>
                  <a:srgbClr val="000000"/>
                </a:solidFill>
              </a:rPr>
              <a:t> Universal</a:t>
            </a:r>
          </a:p>
          <a:p>
            <a:pPr defTabSz="895996" eaLnBrk="1" hangingPunct="1">
              <a:spcBef>
                <a:spcPct val="20000"/>
              </a:spcBef>
              <a:buClrTx/>
              <a:defRPr/>
            </a:pPr>
            <a:r>
              <a:rPr lang="en-US" sz="882" b="0" dirty="0" err="1">
                <a:solidFill>
                  <a:srgbClr val="000000"/>
                </a:solidFill>
              </a:rPr>
              <a:t>Catálogo</a:t>
            </a:r>
            <a:r>
              <a:rPr lang="en-US" sz="882" b="0" dirty="0">
                <a:solidFill>
                  <a:srgbClr val="000000"/>
                </a:solidFill>
              </a:rPr>
              <a:t> </a:t>
            </a:r>
            <a:r>
              <a:rPr lang="en-US" sz="882" b="0" dirty="0" err="1">
                <a:solidFill>
                  <a:srgbClr val="000000"/>
                </a:solidFill>
              </a:rPr>
              <a:t>código</a:t>
            </a:r>
            <a:r>
              <a:rPr lang="en-US" sz="882" b="0" dirty="0">
                <a:solidFill>
                  <a:srgbClr val="000000"/>
                </a:solidFill>
              </a:rPr>
              <a:t> </a:t>
            </a:r>
            <a:r>
              <a:rPr lang="en-GB" altLang="fr-FR" sz="882" b="0" dirty="0">
                <a:solidFill>
                  <a:srgbClr val="000000"/>
                </a:solidFill>
              </a:rPr>
              <a:t>: 1050</a:t>
            </a:r>
          </a:p>
        </p:txBody>
      </p:sp>
      <p:pic>
        <p:nvPicPr>
          <p:cNvPr id="17" name="Image 1">
            <a:extLst>
              <a:ext uri="{FF2B5EF4-FFF2-40B4-BE49-F238E27FC236}">
                <a16:creationId xmlns:a16="http://schemas.microsoft.com/office/drawing/2014/main" id="{17E8F4B2-5271-49FA-8629-9EC0A4C3DD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59330" y="4606369"/>
            <a:ext cx="1477993" cy="1490275"/>
          </a:xfrm>
          <a:prstGeom prst="rect">
            <a:avLst/>
          </a:prstGeom>
        </p:spPr>
      </p:pic>
      <p:pic>
        <p:nvPicPr>
          <p:cNvPr id="18" name="Image 2">
            <a:extLst>
              <a:ext uri="{FF2B5EF4-FFF2-40B4-BE49-F238E27FC236}">
                <a16:creationId xmlns:a16="http://schemas.microsoft.com/office/drawing/2014/main" id="{112BBDEC-162D-4EB8-92B9-D5DD3ACBB0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3196" y="4064004"/>
            <a:ext cx="1767662" cy="1448646"/>
          </a:xfrm>
          <a:prstGeom prst="rect">
            <a:avLst/>
          </a:prstGeom>
        </p:spPr>
      </p:pic>
      <p:sp>
        <p:nvSpPr>
          <p:cNvPr id="11" name="Rechteck 3">
            <a:extLst>
              <a:ext uri="{FF2B5EF4-FFF2-40B4-BE49-F238E27FC236}">
                <a16:creationId xmlns:a16="http://schemas.microsoft.com/office/drawing/2014/main" id="{31D1FB54-E7BB-4F32-AD03-B1C6905D99C5}"/>
              </a:ext>
            </a:extLst>
          </p:cNvPr>
          <p:cNvSpPr/>
          <p:nvPr/>
        </p:nvSpPr>
        <p:spPr>
          <a:xfrm>
            <a:off x="1324528" y="2008002"/>
            <a:ext cx="4084114" cy="46349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defTabSz="1008126" eaLnBrk="1" fontAlgn="auto" hangingPunct="1">
              <a:spcBef>
                <a:spcPts val="331"/>
              </a:spcBef>
              <a:spcAft>
                <a:spcPts val="0"/>
              </a:spcAft>
              <a:buClr>
                <a:srgbClr val="FF6600"/>
              </a:buClr>
              <a:defRPr/>
            </a:pPr>
            <a:r>
              <a:rPr lang="en-GB" sz="1544" dirty="0">
                <a:solidFill>
                  <a:srgbClr val="FFFFFF"/>
                </a:solidFill>
                <a:latin typeface="Arial"/>
              </a:rPr>
              <a:t>VALOR E VANTAGENS</a:t>
            </a:r>
            <a:endParaRPr lang="pt-BR" sz="1544" dirty="0">
              <a:solidFill>
                <a:srgbClr val="FFFFFF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6E9B3B4-335E-441E-920E-C4A19FC28C0B}"/>
              </a:ext>
            </a:extLst>
          </p:cNvPr>
          <p:cNvSpPr/>
          <p:nvPr/>
        </p:nvSpPr>
        <p:spPr>
          <a:xfrm>
            <a:off x="5505485" y="2005066"/>
            <a:ext cx="4029828" cy="466434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marL="210026" indent="-210026" defTabSz="1008126" eaLnBrk="1" hangingPunct="1">
              <a:spcBef>
                <a:spcPts val="331"/>
              </a:spcBef>
              <a:spcAft>
                <a:spcPts val="0"/>
              </a:spcAft>
              <a:buClr>
                <a:srgbClr val="E64B00"/>
              </a:buClr>
            </a:pPr>
            <a:r>
              <a:rPr lang="de-CH" altLang="de-DE" sz="1544" noProof="1">
                <a:solidFill>
                  <a:srgbClr val="FFFFFF"/>
                </a:solidFill>
                <a:latin typeface="Arial" charset="0"/>
              </a:rPr>
              <a:t>DESCRIÇÃO</a:t>
            </a:r>
            <a:endParaRPr lang="pt-BR" altLang="de-DE" sz="1544" b="0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99081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</TotalTime>
  <Pages>1</Pages>
  <Words>67</Words>
  <Application>Microsoft Office PowerPoint</Application>
  <PresentationFormat>Custom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宋体</vt:lpstr>
      <vt:lpstr>Arial</vt:lpstr>
      <vt:lpstr>Book Antiqua</vt:lpstr>
      <vt:lpstr>Wingdings</vt:lpstr>
      <vt:lpstr>NewSidel_Template_4x3_with add layouts</vt:lpstr>
      <vt:lpstr>think-cell Folie</vt:lpstr>
      <vt:lpstr>Garanta a higiene da preforma e do produto final</vt:lpstr>
    </vt:vector>
  </TitlesOfParts>
  <Manager>Dominique Martin</Manager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le Switch System</dc:title>
  <dc:subject>Selling points</dc:subject>
  <dc:creator>Mathieu Druon</dc:creator>
  <cp:keywords/>
  <dc:description/>
  <cp:lastModifiedBy>Sorega, Dan</cp:lastModifiedBy>
  <cp:revision>529</cp:revision>
  <cp:lastPrinted>2016-08-02T08:13:06Z</cp:lastPrinted>
  <dcterms:created xsi:type="dcterms:W3CDTF">2009-07-10T13:59:45Z</dcterms:created>
  <dcterms:modified xsi:type="dcterms:W3CDTF">2021-01-06T16:22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20-07-08T14:54:16.2041737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4-04T16:18:11.5310524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4-04T16:18:11.5310524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